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36111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385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VJamVNlQMOY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90E69FFA-46A6-4C2A-A3C3-392CD838DD2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05" r="16205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0 M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wayne Johnson, Kevin Hart, Keanu Reeve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red Stern, Sam Levine (Directorial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LEGO Batman Movi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n incredible cast of stars lend their voices to this new animation from the artists who previously worked on </a:t>
            </a:r>
            <a:r>
              <a:rPr lang="en-US" i="1" dirty="0">
                <a:solidFill>
                  <a:schemeClr val="accent6"/>
                </a:solidFill>
              </a:rPr>
              <a:t>The LEGO Batman Movie</a:t>
            </a:r>
            <a:r>
              <a:rPr lang="en-US" dirty="0">
                <a:solidFill>
                  <a:schemeClr val="accent6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-15 Kids Index: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Superman’s dog teams up with a flying cat to stop crime while Superman is on vacation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DC League of Super-pet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859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DC League of Super-pet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DC League of Super-pets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DC League of Super-pets</vt:lpwstr>
  </property>
</Properties>
</file>